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sldIdLst>
    <p:sldId id="256" r:id="rId3"/>
    <p:sldId id="272" r:id="rId4"/>
    <p:sldId id="266" r:id="rId5"/>
    <p:sldId id="267" r:id="rId6"/>
    <p:sldId id="268" r:id="rId7"/>
    <p:sldId id="270" r:id="rId8"/>
    <p:sldId id="271" r:id="rId9"/>
    <p:sldId id="269" r:id="rId10"/>
    <p:sldId id="264" r:id="rId11"/>
    <p:sldId id="274" r:id="rId12"/>
    <p:sldId id="273" r:id="rId13"/>
  </p:sldIdLst>
  <p:sldSz cx="12192000" cy="6858000"/>
  <p:notesSz cx="6858000" cy="9144000"/>
  <p:custDataLst>
    <p:tags r:id="rId1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7979"/>
    <a:srgbClr val="E48C16"/>
    <a:srgbClr val="FFDC6D"/>
    <a:srgbClr val="33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AE0E6D4-A32A-4218-A9F7-A01EABE4ECBE}" v="198" dt="2022-12-01T19:16:05.941"/>
    <p1510:client id="{B792691B-3539-49ED-9BDE-2FA0BF7A841B}" v="265" dt="2022-12-01T18:51:30.929"/>
    <p1510:client id="{CA23751F-F522-47A3-9BB1-89EA73F5C821}" v="2" dt="2022-12-01T17:55:10.876"/>
    <p1510:client id="{EFA1041C-60FE-4102-8BE2-A3B0F60A4F07}" v="10" dt="2022-12-01T13:25:37.727"/>
  </p1510:revLst>
</p1510:revInfo>
</file>

<file path=ppt/tableStyles.xml><?xml version="1.0" encoding="utf-8"?>
<a:tblStyleLst xmlns:a="http://schemas.openxmlformats.org/drawingml/2006/main" def="{5C22544A-7EE6-4342-B048-85BDC9FD1C3A}"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microsoft.com/office/2015/10/relationships/revisionInfo" Target="revisionInfo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ags" Target="tags/tag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566623-9A55-6DAC-5C78-01B660A4BB5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D81B320-4F37-AD8B-8C9E-56A13AFEC8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37F8B93-C4DA-47D5-CDAF-391C8B2BF3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CD4E15-8AB8-4FDD-9C51-84F182CC8465}" type="datetimeFigureOut">
              <a:rPr lang="en-IN" smtClean="0"/>
              <a:t>05-05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A54D53C-1C09-9862-4D06-193891BFDA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65A7D4E-6397-2455-158A-4FF7C9686D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02E398-E26A-41A3-9AD7-435697E1854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84065375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8A8A56-0451-6767-EFD5-DB23BEA989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F1C18E4-7C08-8FC9-2EBA-3E22137681D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1669159-F7F2-D733-32D5-C2FF9F509C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CD4E15-8AB8-4FDD-9C51-84F182CC8465}" type="datetimeFigureOut">
              <a:rPr lang="en-IN" smtClean="0"/>
              <a:t>05-05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FDAB699-9326-8747-E2C5-2C4572BDF8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F92ABC8-7B97-655F-64F0-5673A07A67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02E398-E26A-41A3-9AD7-435697E1854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02135393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A19E83C-8F08-F404-3DE7-F8C1668CFD5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797E80D-7597-AE90-F0E2-60992BA8051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E5ED89B-79F9-CFA7-69B1-8061EF8A34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CD4E15-8AB8-4FDD-9C51-84F182CC8465}" type="datetimeFigureOut">
              <a:rPr lang="en-IN" smtClean="0"/>
              <a:t>05-05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D98D31E-3085-A05B-49D0-46F1EAD10B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E773C6-2037-EE8A-755E-E574DEBB60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02E398-E26A-41A3-9AD7-435697E1854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40523078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5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202114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5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60750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5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301734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5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703822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5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807543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5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264476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5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069955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5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26461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D16D79-16B8-0340-09C7-01236636CE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82E7619-9457-BACD-9798-CF699CFA3AF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EA0D635-EB07-1DEA-F2E8-5757820B0E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CD4E15-8AB8-4FDD-9C51-84F182CC8465}" type="datetimeFigureOut">
              <a:rPr lang="en-IN" smtClean="0"/>
              <a:t>05-05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F0444AF-9F84-7564-E93E-CFB10001F9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AA66681-6A53-AAE6-8A46-393AC7D553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02E398-E26A-41A3-9AD7-435697E1854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9864290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5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1009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5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383013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5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34889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F61D70-3F0B-28E9-2170-FFB11EF042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A0ABDAB-920E-8E94-B0BF-264328C1560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575636B-3F2F-7C33-C9E9-5F41219774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CD4E15-8AB8-4FDD-9C51-84F182CC8465}" type="datetimeFigureOut">
              <a:rPr lang="en-IN" smtClean="0"/>
              <a:t>05-05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09A11A1-1919-9DCB-36F8-F4F1820E5C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5B6FB2D-B120-A5F4-087A-85492E6B42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02E398-E26A-41A3-9AD7-435697E1854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1845224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BCEDED-9964-E5D2-D803-6836CDD7B8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0F80F53-5C6A-D909-4E1C-1AFFF323BD2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2EF0F0F-89CF-713B-A728-8A854D5BFA9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C9D0441-92B2-03B4-9547-3AABBE1678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CD4E15-8AB8-4FDD-9C51-84F182CC8465}" type="datetimeFigureOut">
              <a:rPr lang="en-IN" smtClean="0"/>
              <a:t>05-05-2025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EF4D201-CF7A-2F25-3241-88CD861A26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4B4C5C1-9A35-AFD7-FEC4-728AAD8BF3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02E398-E26A-41A3-9AD7-435697E1854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015526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B42F9C-CDA2-CBEA-9D66-D69E2D2A06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99ECAC7-C083-B413-1DF9-A50FA87D62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08F7D6A-56A1-822A-326A-E4126DFD3BD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52EE356-6261-2E54-0C55-141D07B037D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659F80B-9F4C-B8CD-6B12-1C7A66175BE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1017923-475F-215D-2186-317B4A0DCB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CD4E15-8AB8-4FDD-9C51-84F182CC8465}" type="datetimeFigureOut">
              <a:rPr lang="en-IN" smtClean="0"/>
              <a:t>05-05-2025</a:t>
            </a:fld>
            <a:endParaRPr lang="en-IN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537AF9B-CB65-1A80-33F7-96764ECC45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26B9E84-8B73-36C0-E375-74794B52C4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02E398-E26A-41A3-9AD7-435697E1854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007747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36533A-DB42-1A92-ECB0-DBA3F138BD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FFE7F16-CCE9-3BE2-D8AD-82E6737D58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CD4E15-8AB8-4FDD-9C51-84F182CC8465}" type="datetimeFigureOut">
              <a:rPr lang="en-IN" smtClean="0"/>
              <a:t>05-05-2025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9B3FD0A-AE68-07F7-8F3E-EC94A9E76D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CF0F551-3E08-D4FE-705E-BE85DE43B2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02E398-E26A-41A3-9AD7-435697E1854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1382815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7EE0736-6B9D-78C4-5321-13BDB99342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CD4E15-8AB8-4FDD-9C51-84F182CC8465}" type="datetimeFigureOut">
              <a:rPr lang="en-IN" smtClean="0"/>
              <a:t>05-05-2025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AC7FAF3-8C8C-47BC-EFF9-94D4A96738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D44C847-7258-06C1-980E-70A8DEC718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02E398-E26A-41A3-9AD7-435697E1854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245549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6ABA9A-9145-3F01-110F-1ABD0DC9A3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748CB2-363A-F8AA-FA35-C4B769B6EB6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CB4223A-13A4-262D-D64E-0A0E8640E28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F62AC05-E470-9B89-C521-BB99129C8F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CD4E15-8AB8-4FDD-9C51-84F182CC8465}" type="datetimeFigureOut">
              <a:rPr lang="en-IN" smtClean="0"/>
              <a:t>05-05-2025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E27CF4F-F527-3F61-F9FC-28F2378E7C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309B5ED-833A-BC24-972D-7F9BBBBC7B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02E398-E26A-41A3-9AD7-435697E1854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824125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5C0D6-F1EC-F393-76CD-5ED9B96B16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4EE5C20-10A0-E0D4-924D-1DDDB3ABB46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5AAC828-D0C4-5521-D676-E3645ACBBB0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58D803-D6EA-18CF-E8CC-47856ECCBA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CD4E15-8AB8-4FDD-9C51-84F182CC8465}" type="datetimeFigureOut">
              <a:rPr lang="en-IN" smtClean="0"/>
              <a:t>05-05-2025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9F8A7F1-16C8-5858-78F6-0EB78E0711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02C5B3E-D87C-E42B-E246-D322F29C5E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02E398-E26A-41A3-9AD7-435697E1854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4038699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799F553-C454-3BDC-890D-5C3A36DF72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8429860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79" imgH="478" progId="TCLayout.ActiveDocument.1">
                  <p:embed/>
                </p:oleObj>
              </mc:Choice>
              <mc:Fallback>
                <p:oleObj name="think-cell Slide" r:id="rId14" imgW="479" imgH="47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799F553-C454-3BDC-890D-5C3A36DF72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42E771B-8F83-0F3B-5192-FC02CF70D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2874C45-161B-1DC7-58F3-B1E6D4C3350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A0E277F-A942-530E-9083-B60EC7AD2C0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8CD4E15-8AB8-4FDD-9C51-84F182CC8465}" type="datetimeFigureOut">
              <a:rPr lang="en-IN" smtClean="0"/>
              <a:t>05-05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9673020-1A1D-3563-D2E1-1DB75C9C52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C63332C-A881-9168-ACFC-18C813935D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102E398-E26A-41A3-9AD7-435697E1854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0064726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468D78F-83CE-4578-2581-98DB6D58CB2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4390248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79" imgH="478" progId="TCLayout.ActiveDocument.1">
                  <p:embed/>
                </p:oleObj>
              </mc:Choice>
              <mc:Fallback>
                <p:oleObj name="think-cell Slide" r:id="rId14" imgW="479" imgH="47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468D78F-83CE-4578-2581-98DB6D58CB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6CE7D5-CF57-46EF-B807-FDD0502418D4}" type="datetimeFigureOut">
              <a:rPr lang="en-US" smtClean="0"/>
              <a:t>5/5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9617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oleObject" Target="../embeddings/oleObject12.bin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6" Type="http://schemas.openxmlformats.org/officeDocument/2006/relationships/image" Target="../media/image11.png"/><Relationship Id="rId5" Type="http://schemas.openxmlformats.org/officeDocument/2006/relationships/image" Target="../media/image3.jpeg"/><Relationship Id="rId4" Type="http://schemas.openxmlformats.org/officeDocument/2006/relationships/image" Target="../media/image1.emf"/><Relationship Id="rId9" Type="http://schemas.openxmlformats.org/officeDocument/2006/relationships/image" Target="../media/image1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4.xml"/><Relationship Id="rId5" Type="http://schemas.openxmlformats.org/officeDocument/2006/relationships/image" Target="../media/image15.jpe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5.xml"/><Relationship Id="rId6" Type="http://schemas.openxmlformats.org/officeDocument/2006/relationships/image" Target="../media/image4.jpeg"/><Relationship Id="rId5" Type="http://schemas.openxmlformats.org/officeDocument/2006/relationships/image" Target="../media/image3.jpe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6.xml"/><Relationship Id="rId5" Type="http://schemas.openxmlformats.org/officeDocument/2006/relationships/image" Target="../media/image3.jpe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7.xml"/><Relationship Id="rId6" Type="http://schemas.openxmlformats.org/officeDocument/2006/relationships/image" Target="../media/image5.png"/><Relationship Id="rId5" Type="http://schemas.openxmlformats.org/officeDocument/2006/relationships/image" Target="../media/image3.jpe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8.xml"/><Relationship Id="rId6" Type="http://schemas.openxmlformats.org/officeDocument/2006/relationships/image" Target="../media/image5.png"/><Relationship Id="rId5" Type="http://schemas.openxmlformats.org/officeDocument/2006/relationships/image" Target="../media/image3.jpeg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9.xml"/><Relationship Id="rId6" Type="http://schemas.openxmlformats.org/officeDocument/2006/relationships/image" Target="../media/image7.jpeg"/><Relationship Id="rId5" Type="http://schemas.openxmlformats.org/officeDocument/2006/relationships/image" Target="../media/image3.jpeg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0.xml"/><Relationship Id="rId6" Type="http://schemas.openxmlformats.org/officeDocument/2006/relationships/image" Target="../media/image8.jpeg"/><Relationship Id="rId5" Type="http://schemas.openxmlformats.org/officeDocument/2006/relationships/image" Target="../media/image3.jpeg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1.xml"/><Relationship Id="rId6" Type="http://schemas.openxmlformats.org/officeDocument/2006/relationships/image" Target="../media/image9.jpeg"/><Relationship Id="rId5" Type="http://schemas.openxmlformats.org/officeDocument/2006/relationships/image" Target="../media/image3.jpeg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5" Type="http://schemas.openxmlformats.org/officeDocument/2006/relationships/image" Target="../media/image10.jpe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2ACD87D-EF5B-D61C-9F83-92C635B9DB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106425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2ACD87D-EF5B-D61C-9F83-92C635B9DB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 descr="A picture containing person, indoor&#10;&#10;Description automatically generated">
            <a:extLst>
              <a:ext uri="{FF2B5EF4-FFF2-40B4-BE49-F238E27FC236}">
                <a16:creationId xmlns:a16="http://schemas.microsoft.com/office/drawing/2014/main" id="{F25D7495-F907-0BEE-D0DF-8B8F3FE99EDB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91999" cy="68580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D49310DA-1C52-81FF-100D-F27C254A57D0}"/>
              </a:ext>
            </a:extLst>
          </p:cNvPr>
          <p:cNvSpPr txBox="1"/>
          <p:nvPr/>
        </p:nvSpPr>
        <p:spPr>
          <a:xfrm>
            <a:off x="146649" y="4665960"/>
            <a:ext cx="4787662" cy="203132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28600" algn="l"/>
            <a:r>
              <a:rPr lang="en-IN" sz="1800" b="1" cap="all">
                <a:effectLst/>
                <a:latin typeface="Calibri" panose="020F0502020204030204" pitchFamily="34" charset="0"/>
                <a:ea typeface="MS Mincho" panose="02020609040205080304" pitchFamily="49" charset="-128"/>
                <a:cs typeface="Arial" panose="020B0604020202020204" pitchFamily="34" charset="0"/>
              </a:rPr>
              <a:t>Submitted BY: -</a:t>
            </a:r>
            <a:endParaRPr lang="en-IN" sz="1800">
              <a:effectLst/>
              <a:latin typeface="Calibri" panose="020F0502020204030204" pitchFamily="34" charset="0"/>
              <a:ea typeface="MS Mincho" panose="02020609040205080304" pitchFamily="49" charset="-128"/>
              <a:cs typeface="Arial" panose="020B0604020202020204" pitchFamily="34" charset="0"/>
            </a:endParaRPr>
          </a:p>
          <a:p>
            <a:pPr marL="228600" algn="l"/>
            <a:r>
              <a:rPr lang="en-US" sz="1800" b="1" cap="all">
                <a:effectLst/>
                <a:latin typeface="Calibri" panose="020F0502020204030204" pitchFamily="34" charset="0"/>
                <a:ea typeface="MS Mincho" panose="02020609040205080304" pitchFamily="49" charset="-128"/>
                <a:cs typeface="Arial" panose="020B0604020202020204" pitchFamily="34" charset="0"/>
              </a:rPr>
              <a:t>(group-1)</a:t>
            </a:r>
            <a:endParaRPr lang="en-IN" sz="1800">
              <a:effectLst/>
              <a:latin typeface="Calibri" panose="020F0502020204030204" pitchFamily="34" charset="0"/>
              <a:ea typeface="MS Mincho" panose="02020609040205080304" pitchFamily="49" charset="-128"/>
              <a:cs typeface="Arial" panose="020B0604020202020204" pitchFamily="34" charset="0"/>
            </a:endParaRPr>
          </a:p>
          <a:p>
            <a:pPr marL="342900" lvl="0" indent="-342900" algn="l">
              <a:buFont typeface="Symbol" panose="05050102010706020507" pitchFamily="18" charset="2"/>
              <a:buChar char=""/>
            </a:pPr>
            <a:r>
              <a:rPr lang="en-US" sz="1800">
                <a:effectLst/>
                <a:latin typeface="Calibri"/>
                <a:ea typeface="MS Mincho"/>
                <a:cs typeface="Arial"/>
              </a:rPr>
              <a:t>Amal </a:t>
            </a:r>
            <a:r>
              <a:rPr lang="en-US">
                <a:latin typeface="Calibri"/>
                <a:ea typeface="MS Mincho"/>
                <a:cs typeface="Arial"/>
              </a:rPr>
              <a:t>Bakhsh</a:t>
            </a:r>
            <a:endParaRPr lang="en-IN" sz="1800">
              <a:effectLst/>
              <a:latin typeface="Calibri" panose="020F0502020204030204" pitchFamily="34" charset="0"/>
              <a:ea typeface="MS Mincho" panose="02020609040205080304" pitchFamily="49" charset="-128"/>
              <a:cs typeface="Arial" panose="020B0604020202020204" pitchFamily="34" charset="0"/>
            </a:endParaRPr>
          </a:p>
          <a:p>
            <a:pPr marL="342900" lvl="0" indent="-342900" algn="l">
              <a:buFont typeface="Symbol" panose="05050102010706020507" pitchFamily="18" charset="2"/>
              <a:buChar char=""/>
            </a:pPr>
            <a:r>
              <a:rPr lang="en-US" sz="1800" cap="all" err="1">
                <a:effectLst/>
                <a:latin typeface="Calibri" panose="020F0502020204030204" pitchFamily="34" charset="0"/>
                <a:ea typeface="MS Mincho" panose="02020609040205080304" pitchFamily="49" charset="-128"/>
                <a:cs typeface="Arial" panose="020B0604020202020204" pitchFamily="34" charset="0"/>
              </a:rPr>
              <a:t>b</a:t>
            </a:r>
            <a:r>
              <a:rPr lang="en-US" sz="1800" err="1">
                <a:effectLst/>
                <a:latin typeface="Calibri" panose="020F0502020204030204" pitchFamily="34" charset="0"/>
                <a:ea typeface="MS Mincho" panose="02020609040205080304" pitchFamily="49" charset="-128"/>
                <a:cs typeface="Arial" panose="020B0604020202020204" pitchFamily="34" charset="0"/>
              </a:rPr>
              <a:t>ing</a:t>
            </a:r>
            <a:r>
              <a:rPr lang="en-US" sz="1800">
                <a:effectLst/>
                <a:latin typeface="Calibri" panose="020F0502020204030204" pitchFamily="34" charset="0"/>
                <a:ea typeface="MS Mincho" panose="02020609040205080304" pitchFamily="49" charset="-128"/>
                <a:cs typeface="Arial" panose="020B0604020202020204" pitchFamily="34" charset="0"/>
              </a:rPr>
              <a:t> Wei</a:t>
            </a:r>
            <a:endParaRPr lang="en-IN" sz="1800">
              <a:effectLst/>
              <a:latin typeface="Calibri" panose="020F0502020204030204" pitchFamily="34" charset="0"/>
              <a:ea typeface="MS Mincho" panose="02020609040205080304" pitchFamily="49" charset="-128"/>
              <a:cs typeface="Arial" panose="020B0604020202020204" pitchFamily="34" charset="0"/>
            </a:endParaRPr>
          </a:p>
          <a:p>
            <a:pPr marL="342900" lvl="0" indent="-342900" algn="l">
              <a:buFont typeface="Symbol" panose="05050102010706020507" pitchFamily="18" charset="2"/>
              <a:buChar char=""/>
            </a:pPr>
            <a:r>
              <a:rPr lang="en-US" sz="1800">
                <a:effectLst/>
                <a:latin typeface="Calibri" panose="020F0502020204030204" pitchFamily="34" charset="0"/>
                <a:ea typeface="MS Mincho" panose="02020609040205080304" pitchFamily="49" charset="-128"/>
                <a:cs typeface="Arial" panose="020B0604020202020204" pitchFamily="34" charset="0"/>
              </a:rPr>
              <a:t>Daksh Parikh</a:t>
            </a:r>
            <a:endParaRPr lang="en-IN" sz="1800">
              <a:effectLst/>
              <a:latin typeface="Calibri" panose="020F0502020204030204" pitchFamily="34" charset="0"/>
              <a:ea typeface="MS Mincho" panose="02020609040205080304" pitchFamily="49" charset="-128"/>
              <a:cs typeface="Arial" panose="020B0604020202020204" pitchFamily="34" charset="0"/>
            </a:endParaRPr>
          </a:p>
          <a:p>
            <a:pPr marL="342900" lvl="0" indent="-342900" algn="l">
              <a:buFont typeface="Symbol" panose="05050102010706020507" pitchFamily="18" charset="2"/>
              <a:buChar char=""/>
            </a:pPr>
            <a:r>
              <a:rPr lang="en-US" sz="1800">
                <a:effectLst/>
                <a:latin typeface="Calibri" panose="020F0502020204030204" pitchFamily="34" charset="0"/>
                <a:ea typeface="MS Mincho" panose="02020609040205080304" pitchFamily="49" charset="-128"/>
                <a:cs typeface="Arial" panose="020B0604020202020204" pitchFamily="34" charset="0"/>
              </a:rPr>
              <a:t>Nikhita Agarwal</a:t>
            </a:r>
            <a:endParaRPr lang="en-IN" sz="1800">
              <a:effectLst/>
              <a:latin typeface="Calibri" panose="020F0502020204030204" pitchFamily="34" charset="0"/>
              <a:ea typeface="MS Mincho" panose="02020609040205080304" pitchFamily="49" charset="-128"/>
              <a:cs typeface="Arial" panose="020B0604020202020204" pitchFamily="34" charset="0"/>
            </a:endParaRPr>
          </a:p>
          <a:p>
            <a:pPr marL="342900" lvl="0" indent="-342900" algn="l">
              <a:buFont typeface="Symbol" panose="05050102010706020507" pitchFamily="18" charset="2"/>
              <a:buChar char=""/>
            </a:pPr>
            <a:r>
              <a:rPr lang="en-US" sz="1800">
                <a:effectLst/>
                <a:latin typeface="Calibri" panose="020F0502020204030204" pitchFamily="34" charset="0"/>
                <a:ea typeface="MS Mincho" panose="02020609040205080304" pitchFamily="49" charset="-128"/>
                <a:cs typeface="Arial" panose="020B0604020202020204" pitchFamily="34" charset="0"/>
              </a:rPr>
              <a:t>Poorna </a:t>
            </a:r>
            <a:r>
              <a:rPr lang="en-US" sz="1800" err="1">
                <a:effectLst/>
                <a:latin typeface="Calibri" panose="020F0502020204030204" pitchFamily="34" charset="0"/>
                <a:ea typeface="MS Mincho" panose="02020609040205080304" pitchFamily="49" charset="-128"/>
                <a:cs typeface="Arial" panose="020B0604020202020204" pitchFamily="34" charset="0"/>
              </a:rPr>
              <a:t>Kothapally</a:t>
            </a:r>
            <a:endParaRPr lang="en-IN" sz="1800" err="1">
              <a:effectLst/>
              <a:latin typeface="Calibri" panose="020F0502020204030204" pitchFamily="34" charset="0"/>
              <a:ea typeface="MS Mincho" panose="02020609040205080304" pitchFamily="49" charset="-128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B933D8B-EF2C-7002-76C7-AA1954B0EC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372812"/>
            <a:ext cx="9144000" cy="1732980"/>
          </a:xfrm>
        </p:spPr>
        <p:txBody>
          <a:bodyPr vert="horz">
            <a:normAutofit/>
          </a:bodyPr>
          <a:lstStyle/>
          <a:p>
            <a:r>
              <a:rPr lang="en-IN" sz="72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ust-Away Rental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40E9C0C-CEA1-5AE5-D09D-50AC8635ECB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62311" y="2981577"/>
            <a:ext cx="9144000" cy="724619"/>
          </a:xfrm>
        </p:spPr>
        <p:txBody>
          <a:bodyPr>
            <a:normAutofit fontScale="25000" lnSpcReduction="20000"/>
          </a:bodyPr>
          <a:lstStyle/>
          <a:p>
            <a:pPr algn="r"/>
            <a:r>
              <a:rPr lang="en-IN" sz="8000" b="1"/>
              <a:t>Affordable. Reliable. Spotless</a:t>
            </a:r>
            <a:r>
              <a:rPr lang="en-IN"/>
              <a:t>.</a:t>
            </a:r>
          </a:p>
          <a:p>
            <a:endParaRPr lang="en-IN"/>
          </a:p>
          <a:p>
            <a:pPr marL="457200" algn="r"/>
            <a:r>
              <a:rPr lang="en-US" sz="1800" b="1" cap="all">
                <a:effectLst/>
                <a:latin typeface="Calibri" panose="020F0502020204030204" pitchFamily="34" charset="0"/>
                <a:ea typeface="MS Mincho" panose="02020609040205080304" pitchFamily="49" charset="-128"/>
                <a:cs typeface="Arial" panose="020B0604020202020204" pitchFamily="34" charset="0"/>
              </a:rPr>
              <a:t> </a:t>
            </a:r>
            <a:endParaRPr lang="en-IN" sz="1800">
              <a:effectLst/>
              <a:latin typeface="Calibri" panose="020F0502020204030204" pitchFamily="34" charset="0"/>
              <a:ea typeface="MS Mincho" panose="02020609040205080304" pitchFamily="49" charset="-128"/>
              <a:cs typeface="Arial" panose="020B0604020202020204" pitchFamily="34" charset="0"/>
            </a:endParaRPr>
          </a:p>
          <a:p>
            <a:pPr marL="457200" algn="r"/>
            <a:r>
              <a:rPr lang="en-US" sz="1800" b="1" cap="all">
                <a:effectLst/>
                <a:latin typeface="Calibri" panose="020F0502020204030204" pitchFamily="34" charset="0"/>
                <a:ea typeface="MS Mincho" panose="02020609040205080304" pitchFamily="49" charset="-128"/>
                <a:cs typeface="Arial" panose="020B0604020202020204" pitchFamily="34" charset="0"/>
              </a:rPr>
              <a:t> </a:t>
            </a:r>
            <a:endParaRPr lang="en-IN" sz="1800">
              <a:effectLst/>
              <a:latin typeface="Calibri" panose="020F0502020204030204" pitchFamily="34" charset="0"/>
              <a:ea typeface="MS Mincho" panose="02020609040205080304" pitchFamily="49" charset="-128"/>
              <a:cs typeface="Arial" panose="020B0604020202020204" pitchFamily="34" charset="0"/>
            </a:endParaRPr>
          </a:p>
          <a:p>
            <a:endParaRPr lang="en-IN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88ADD78-C491-85A2-0766-5BF442312B62}"/>
              </a:ext>
            </a:extLst>
          </p:cNvPr>
          <p:cNvSpPr txBox="1"/>
          <p:nvPr/>
        </p:nvSpPr>
        <p:spPr>
          <a:xfrm>
            <a:off x="7824159" y="64522"/>
            <a:ext cx="428732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4000" b="1"/>
              <a:t>MARKETING PLAN</a:t>
            </a:r>
          </a:p>
        </p:txBody>
      </p:sp>
    </p:spTree>
    <p:extLst>
      <p:ext uri="{BB962C8B-B14F-4D97-AF65-F5344CB8AC3E}">
        <p14:creationId xmlns:p14="http://schemas.microsoft.com/office/powerpoint/2010/main" val="359409103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FF2B926-25D9-BDA4-C517-BFD296264BD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06233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FF2B926-25D9-BDA4-C517-BFD296264B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9" descr="A picture containing wall, indoor, floor, room&#10;&#10;Description automatically generated">
            <a:extLst>
              <a:ext uri="{FF2B5EF4-FFF2-40B4-BE49-F238E27FC236}">
                <a16:creationId xmlns:a16="http://schemas.microsoft.com/office/drawing/2014/main" id="{E343C1C7-055F-12F5-0BB5-58220F72D4D7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70000"/>
          </a:blip>
          <a:stretch>
            <a:fillRect/>
          </a:stretch>
        </p:blipFill>
        <p:spPr>
          <a:xfrm>
            <a:off x="3959" y="990"/>
            <a:ext cx="12124705" cy="685602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7FAD7BE-4AB8-9C18-4211-1A28CD01B1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305" y="161112"/>
            <a:ext cx="10515600" cy="1325563"/>
          </a:xfrm>
        </p:spPr>
        <p:txBody>
          <a:bodyPr vert="horz">
            <a:normAutofit/>
          </a:bodyPr>
          <a:lstStyle/>
          <a:p>
            <a:r>
              <a:rPr lang="en-US" sz="4800" b="1">
                <a:cs typeface="Calibri Light"/>
              </a:rPr>
              <a:t>Sample Ads and Flyers</a:t>
            </a:r>
          </a:p>
        </p:txBody>
      </p:sp>
      <p:pic>
        <p:nvPicPr>
          <p:cNvPr id="4" name="Picture 4">
            <a:extLst>
              <a:ext uri="{FF2B5EF4-FFF2-40B4-BE49-F238E27FC236}">
                <a16:creationId xmlns:a16="http://schemas.microsoft.com/office/drawing/2014/main" id="{5D588708-F72F-8352-B719-97908F73E3B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7653" y="2594403"/>
            <a:ext cx="2476163" cy="4114800"/>
          </a:xfrm>
          <a:prstGeom prst="rect">
            <a:avLst/>
          </a:prstGeom>
        </p:spPr>
      </p:pic>
      <p:pic>
        <p:nvPicPr>
          <p:cNvPr id="5" name="Picture 5" descr="A picture containing vacuum, appliance, transport&#10;&#10;Description automatically generated">
            <a:extLst>
              <a:ext uri="{FF2B5EF4-FFF2-40B4-BE49-F238E27FC236}">
                <a16:creationId xmlns:a16="http://schemas.microsoft.com/office/drawing/2014/main" id="{04E0ABF6-BE5D-56EB-C258-DFF49D51234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092037" y="1305296"/>
            <a:ext cx="3020291" cy="3554680"/>
          </a:xfrm>
          <a:prstGeom prst="rect">
            <a:avLst/>
          </a:prstGeom>
        </p:spPr>
      </p:pic>
      <p:pic>
        <p:nvPicPr>
          <p:cNvPr id="6" name="Picture 6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CDEA3059-6263-DAE6-2E44-061040FE7A3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201242" y="1634482"/>
            <a:ext cx="3289946" cy="5074721"/>
          </a:xfrm>
          <a:prstGeom prst="rect">
            <a:avLst/>
          </a:prstGeom>
        </p:spPr>
      </p:pic>
      <p:pic>
        <p:nvPicPr>
          <p:cNvPr id="8" name="Picture 8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DAD4F78B-E96C-1258-027F-F46FB8D2DDB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491188" y="471056"/>
            <a:ext cx="3472872" cy="5074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740548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D928169-E7F9-402D-A55D-EEA081BAAF9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08238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D928169-E7F9-402D-A55D-EEA081BAAF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 descr="A picture containing indoor, wall&#10;&#10;Description automatically generated">
            <a:extLst>
              <a:ext uri="{FF2B5EF4-FFF2-40B4-BE49-F238E27FC236}">
                <a16:creationId xmlns:a16="http://schemas.microsoft.com/office/drawing/2014/main" id="{1D1E7FD1-3406-098D-B547-FF43B7F701FF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DB073E3B-A817-4206-1B72-26968DD14D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9"/>
            <a:ext cx="10515600" cy="2163522"/>
          </a:xfrm>
        </p:spPr>
        <p:txBody>
          <a:bodyPr vert="horz">
            <a:normAutofit/>
          </a:bodyPr>
          <a:lstStyle/>
          <a:p>
            <a:pPr algn="ctr"/>
            <a:r>
              <a:rPr lang="en-IN" sz="8800" b="1"/>
              <a:t>Thankyou 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B87CBF9-739C-5060-37CE-513FA41EAA0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2069" y="3778580"/>
            <a:ext cx="10515600" cy="474243"/>
          </a:xfrm>
        </p:spPr>
        <p:txBody>
          <a:bodyPr/>
          <a:lstStyle/>
          <a:p>
            <a:pPr algn="ctr"/>
            <a:r>
              <a:rPr lang="en-IN" b="1">
                <a:solidFill>
                  <a:schemeClr val="tx1"/>
                </a:solidFill>
              </a:rPr>
              <a:t>Questions &amp; Feedback</a:t>
            </a:r>
          </a:p>
        </p:txBody>
      </p:sp>
    </p:spTree>
    <p:extLst>
      <p:ext uri="{BB962C8B-B14F-4D97-AF65-F5344CB8AC3E}">
        <p14:creationId xmlns:p14="http://schemas.microsoft.com/office/powerpoint/2010/main" val="37292878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61895A1-3E23-565B-7FD1-6FF683CFF1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70203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61895A1-3E23-565B-7FD1-6FF683CFF1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A picture containing wall, indoor, floor, room&#10;&#10;Description automatically generated">
            <a:extLst>
              <a:ext uri="{FF2B5EF4-FFF2-40B4-BE49-F238E27FC236}">
                <a16:creationId xmlns:a16="http://schemas.microsoft.com/office/drawing/2014/main" id="{FB31C480-A6BC-3311-7F01-E4C7859FFE4D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pic>
        <p:nvPicPr>
          <p:cNvPr id="5" name="Picture 4" descr="A living room with white furniture&#10;&#10;Description automatically generated with low confidence">
            <a:extLst>
              <a:ext uri="{FF2B5EF4-FFF2-40B4-BE49-F238E27FC236}">
                <a16:creationId xmlns:a16="http://schemas.microsoft.com/office/drawing/2014/main" id="{22720FD5-04D9-0EF8-266B-47A5DD9E3A2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12191999" cy="6858000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86C7B4A1-154A-4DF0-AC46-F88D75A2E0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336884" y="321176"/>
            <a:ext cx="7197772" cy="5896743"/>
          </a:xfrm>
          <a:prstGeom prst="rect">
            <a:avLst/>
          </a:prstGeom>
          <a:solidFill>
            <a:schemeClr val="bg1">
              <a:alpha val="90000"/>
            </a:schemeClr>
          </a:solidFill>
          <a:ln w="127000" cap="sq" cmpd="thinThick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2F37AF47-F87F-0068-C2CE-9B7AD5F6D62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934" y="1456386"/>
            <a:ext cx="6320319" cy="4461879"/>
          </a:xfrm>
        </p:spPr>
        <p:txBody>
          <a:bodyPr>
            <a:noAutofit/>
          </a:bodyPr>
          <a:lstStyle/>
          <a:p>
            <a:pPr algn="just"/>
            <a:r>
              <a:rPr lang="en-US" sz="2000">
                <a:effectLst/>
                <a:latin typeface="Calibri" panose="020F0502020204030204" pitchFamily="34" charset="0"/>
                <a:ea typeface="MS Gothic" panose="020B0609070205080204" pitchFamily="49" charset="-128"/>
              </a:rPr>
              <a:t>Our positioning statement is “</a:t>
            </a:r>
            <a:r>
              <a:rPr lang="en-US" sz="2000" b="1">
                <a:effectLst/>
                <a:latin typeface="Calibri" panose="020F0502020204030204" pitchFamily="34" charset="0"/>
                <a:ea typeface="MS Gothic" panose="020B0609070205080204" pitchFamily="49" charset="-128"/>
              </a:rPr>
              <a:t>Affordable. Reliable. Spotless</a:t>
            </a:r>
            <a:r>
              <a:rPr lang="en-US" sz="2000">
                <a:effectLst/>
                <a:latin typeface="Calibri" panose="020F0502020204030204" pitchFamily="34" charset="0"/>
                <a:ea typeface="MS Gothic" panose="020B0609070205080204" pitchFamily="49" charset="-128"/>
              </a:rPr>
              <a:t>”</a:t>
            </a:r>
          </a:p>
          <a:p>
            <a:pPr algn="just"/>
            <a:r>
              <a:rPr lang="en-US" sz="2000">
                <a:effectLst/>
                <a:latin typeface="Calibri" panose="020F0502020204030204" pitchFamily="34" charset="0"/>
                <a:ea typeface="MS Gothic" panose="020B0609070205080204" pitchFamily="49" charset="-128"/>
              </a:rPr>
              <a:t>Direct reflection of how our services satisfy a specific consumer</a:t>
            </a:r>
            <a:endParaRPr lang="en-US" sz="2000">
              <a:latin typeface="Calibri" panose="020F0502020204030204" pitchFamily="34" charset="0"/>
              <a:ea typeface="MS Gothic" panose="020B0609070205080204" pitchFamily="49" charset="-128"/>
            </a:endParaRPr>
          </a:p>
          <a:p>
            <a:pPr algn="just"/>
            <a:r>
              <a:rPr lang="en-US" sz="2000">
                <a:latin typeface="Calibri" panose="020F0502020204030204" pitchFamily="34" charset="0"/>
                <a:ea typeface="MS Gothic" panose="020B0609070205080204" pitchFamily="49" charset="-128"/>
              </a:rPr>
              <a:t>E</a:t>
            </a:r>
            <a:r>
              <a:rPr lang="en-US" sz="2000">
                <a:effectLst/>
                <a:latin typeface="Calibri" panose="020F0502020204030204" pitchFamily="34" charset="0"/>
                <a:ea typeface="MS Gothic" panose="020B0609070205080204" pitchFamily="49" charset="-128"/>
              </a:rPr>
              <a:t>conomical alternative to purchasing cleaning equipment</a:t>
            </a:r>
          </a:p>
          <a:p>
            <a:pPr algn="just"/>
            <a:r>
              <a:rPr lang="en-US" sz="2000">
                <a:latin typeface="Calibri" panose="020F0502020204030204" pitchFamily="34" charset="0"/>
                <a:ea typeface="MS Gothic" panose="020B0609070205080204" pitchFamily="49" charset="-128"/>
              </a:rPr>
              <a:t>R</a:t>
            </a:r>
            <a:r>
              <a:rPr lang="en-US" sz="2000">
                <a:effectLst/>
                <a:latin typeface="Calibri" panose="020F0502020204030204" pitchFamily="34" charset="0"/>
                <a:ea typeface="MS Gothic" panose="020B0609070205080204" pitchFamily="49" charset="-128"/>
              </a:rPr>
              <a:t>educe the time and energy looking for inexpensive and fail-safe equipment</a:t>
            </a:r>
          </a:p>
          <a:p>
            <a:pPr algn="just"/>
            <a:r>
              <a:rPr lang="en-US" sz="2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Believe that the equipment shouldn’t just work like new, it should feel like new</a:t>
            </a:r>
            <a:endParaRPr lang="en-US" sz="2000">
              <a:latin typeface="Calibri" panose="020F0502020204030204" pitchFamily="34" charset="0"/>
              <a:ea typeface="MS Gothic" panose="020B0609070205080204" pitchFamily="49" charset="-128"/>
            </a:endParaRPr>
          </a:p>
          <a:p>
            <a:pPr algn="just"/>
            <a:r>
              <a:rPr lang="en-US" sz="2000">
                <a:latin typeface="Calibri" panose="020F0502020204030204" pitchFamily="34" charset="0"/>
                <a:ea typeface="Calibri" panose="020F0502020204030204" pitchFamily="34" charset="0"/>
              </a:rPr>
              <a:t>E</a:t>
            </a:r>
            <a:r>
              <a:rPr lang="en-US" sz="2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xceptional after-sales service</a:t>
            </a:r>
            <a:endParaRPr lang="en-IN" sz="200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2FCC826-44D5-21E3-B861-742FA9E8069D}"/>
              </a:ext>
            </a:extLst>
          </p:cNvPr>
          <p:cNvSpPr txBox="1"/>
          <p:nvPr/>
        </p:nvSpPr>
        <p:spPr>
          <a:xfrm>
            <a:off x="750497" y="534838"/>
            <a:ext cx="550365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4000" b="1"/>
              <a:t>Positioning Statement</a:t>
            </a:r>
          </a:p>
        </p:txBody>
      </p:sp>
    </p:spTree>
    <p:extLst>
      <p:ext uri="{BB962C8B-B14F-4D97-AF65-F5344CB8AC3E}">
        <p14:creationId xmlns:p14="http://schemas.microsoft.com/office/powerpoint/2010/main" val="33927711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61895A1-3E23-565B-7FD1-6FF683CFF1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41431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61895A1-3E23-565B-7FD1-6FF683CFF1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A picture containing wall, indoor, floor, room&#10;&#10;Description automatically generated">
            <a:extLst>
              <a:ext uri="{FF2B5EF4-FFF2-40B4-BE49-F238E27FC236}">
                <a16:creationId xmlns:a16="http://schemas.microsoft.com/office/drawing/2014/main" id="{FB31C480-A6BC-3311-7F01-E4C7859FFE4D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86C7B4A1-154A-4DF0-AC46-F88D75A2E0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336884" y="321176"/>
            <a:ext cx="7197772" cy="5896743"/>
          </a:xfrm>
          <a:prstGeom prst="rect">
            <a:avLst/>
          </a:prstGeom>
          <a:solidFill>
            <a:schemeClr val="bg1">
              <a:alpha val="90000"/>
            </a:schemeClr>
          </a:solidFill>
          <a:ln w="127000" cap="sq" cmpd="thinThick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D037D28-BC23-7BFF-E982-836AFE3209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4804" y="640263"/>
            <a:ext cx="6619811" cy="1059141"/>
          </a:xfrm>
        </p:spPr>
        <p:txBody>
          <a:bodyPr vert="horz">
            <a:normAutofit/>
          </a:bodyPr>
          <a:lstStyle/>
          <a:p>
            <a:r>
              <a:rPr lang="en-IN" sz="4000" b="1"/>
              <a:t>Target Market</a:t>
            </a:r>
            <a:endParaRPr lang="en-US" sz="4000" b="1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4463B20-8E23-9122-F115-36828B22950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94109" y="1828800"/>
            <a:ext cx="6620505" cy="4065973"/>
          </a:xfrm>
        </p:spPr>
        <p:txBody>
          <a:bodyPr vert="horz" lIns="91440" tIns="45720" rIns="91440" bIns="45720" rtlCol="0" anchor="t">
            <a:normAutofit/>
          </a:bodyPr>
          <a:lstStyle/>
          <a:p>
            <a:pPr algn="just"/>
            <a:r>
              <a:rPr lang="en-US" sz="180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im to provide house cleaning equipment rental services to college students across the Richardson</a:t>
            </a:r>
          </a:p>
          <a:p>
            <a:pPr algn="just"/>
            <a:r>
              <a:rPr lang="en-US" sz="1800">
                <a:latin typeface="Calibri"/>
                <a:ea typeface="Calibri" panose="020F0502020204030204" pitchFamily="34" charset="0"/>
                <a:cs typeface="Arial"/>
              </a:rPr>
              <a:t>T</a:t>
            </a:r>
            <a:r>
              <a:rPr lang="en-IN" sz="1800">
                <a:effectLst/>
                <a:latin typeface="Calibri"/>
                <a:ea typeface="MS Gothic"/>
                <a:cs typeface="Calibri"/>
              </a:rPr>
              <a:t>he </a:t>
            </a:r>
            <a:r>
              <a:rPr lang="en-US" sz="1800">
                <a:effectLst/>
                <a:latin typeface="Calibri"/>
                <a:ea typeface="Calibri" panose="020F0502020204030204" pitchFamily="34" charset="0"/>
                <a:cs typeface="Calibri"/>
              </a:rPr>
              <a:t>four target universities -University of Texas, Dallas, West Coast University, </a:t>
            </a:r>
            <a:r>
              <a:rPr lang="en-US" sz="1800">
                <a:latin typeface="Calibri"/>
                <a:ea typeface="Calibri" panose="020F0502020204030204" pitchFamily="34" charset="0"/>
                <a:cs typeface="Calibri"/>
              </a:rPr>
              <a:t>Richland College</a:t>
            </a:r>
            <a:r>
              <a:rPr lang="en-US" sz="1800">
                <a:effectLst/>
                <a:latin typeface="Calibri"/>
                <a:ea typeface="Calibri" panose="020F0502020204030204" pitchFamily="34" charset="0"/>
                <a:cs typeface="Calibri"/>
              </a:rPr>
              <a:t> and </a:t>
            </a:r>
            <a:r>
              <a:rPr lang="en-US" sz="1800">
                <a:latin typeface="Calibri"/>
                <a:ea typeface="Calibri" panose="020F0502020204030204" pitchFamily="34" charset="0"/>
                <a:cs typeface="Calibri"/>
              </a:rPr>
              <a:t>University of Phoenix Dallas Campus</a:t>
            </a:r>
            <a:endParaRPr lang="en-US" sz="1800">
              <a:effectLst/>
              <a:latin typeface="Calibri"/>
              <a:ea typeface="Calibri" panose="020F0502020204030204" pitchFamily="34" charset="0"/>
              <a:cs typeface="Calibri"/>
            </a:endParaRPr>
          </a:p>
          <a:p>
            <a:pPr algn="just"/>
            <a:r>
              <a:rPr lang="en-US" sz="18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Primary reason for choosing college students is- </a:t>
            </a:r>
            <a:r>
              <a:rPr lang="en-US" sz="1800">
                <a:effectLst/>
                <a:latin typeface="Calibri" panose="020F0502020204030204" pitchFamily="34" charset="0"/>
                <a:ea typeface="MS Gothic" panose="020B0609070205080204" pitchFamily="49" charset="-128"/>
              </a:rPr>
              <a:t>students tend to shift often from one place to another, inconvenient to move the equipment</a:t>
            </a:r>
          </a:p>
          <a:p>
            <a:pPr algn="just"/>
            <a:r>
              <a:rPr lang="en-US" sz="1800">
                <a:latin typeface="Calibri" panose="020F0502020204030204" pitchFamily="34" charset="0"/>
                <a:ea typeface="MS Gothic" panose="020B0609070205080204" pitchFamily="49" charset="-128"/>
              </a:rPr>
              <a:t>L</a:t>
            </a:r>
            <a:r>
              <a:rPr lang="en-US" sz="1800">
                <a:effectLst/>
                <a:latin typeface="Calibri" panose="020F0502020204030204" pitchFamily="34" charset="0"/>
                <a:ea typeface="MS Gothic" panose="020B0609070205080204" pitchFamily="49" charset="-128"/>
              </a:rPr>
              <a:t>ive in shared accommodations not have the space to store equipment</a:t>
            </a:r>
            <a:endParaRPr lang="en-US" sz="1800">
              <a:latin typeface="Calibri" panose="020F0502020204030204" pitchFamily="34" charset="0"/>
              <a:ea typeface="MS Gothic" panose="020B0609070205080204" pitchFamily="49" charset="-128"/>
            </a:endParaRPr>
          </a:p>
          <a:p>
            <a:pPr algn="just"/>
            <a:r>
              <a:rPr lang="en-IN" sz="1800">
                <a:latin typeface="Calibri" panose="020F0502020204030204" pitchFamily="34" charset="0"/>
                <a:ea typeface="MS Gothic" panose="020B0609070205080204" pitchFamily="49" charset="-128"/>
              </a:rPr>
              <a:t>P</a:t>
            </a:r>
            <a:r>
              <a:rPr lang="en-IN" sz="1800">
                <a:effectLst/>
                <a:latin typeface="Calibri" panose="020F0502020204030204" pitchFamily="34" charset="0"/>
                <a:ea typeface="MS Gothic" panose="020B0609070205080204" pitchFamily="49" charset="-128"/>
              </a:rPr>
              <a:t>urchasing power of students is low compared to that of working professionals or families</a:t>
            </a:r>
            <a:endParaRPr lang="en-US" sz="1800">
              <a:effectLst/>
              <a:latin typeface="Calibri" panose="020F0502020204030204" pitchFamily="34" charset="0"/>
              <a:ea typeface="MS Gothic" panose="020B0609070205080204" pitchFamily="49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1739893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61895A1-3E23-565B-7FD1-6FF683CFF1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72072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61895A1-3E23-565B-7FD1-6FF683CFF1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A picture containing wall, indoor, floor, room&#10;&#10;Description automatically generated">
            <a:extLst>
              <a:ext uri="{FF2B5EF4-FFF2-40B4-BE49-F238E27FC236}">
                <a16:creationId xmlns:a16="http://schemas.microsoft.com/office/drawing/2014/main" id="{FB31C480-A6BC-3311-7F01-E4C7859FFE4D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151571BB-56C5-7711-4B06-FB473D171FF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1" y="0"/>
            <a:ext cx="12192000" cy="6857999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86C7B4A1-154A-4DF0-AC46-F88D75A2E0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336884" y="321176"/>
            <a:ext cx="7197772" cy="5896743"/>
          </a:xfrm>
          <a:prstGeom prst="rect">
            <a:avLst/>
          </a:prstGeom>
          <a:solidFill>
            <a:schemeClr val="bg1">
              <a:alpha val="90000"/>
            </a:schemeClr>
          </a:solidFill>
          <a:ln w="127000" cap="sq" cmpd="thinThick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D037D28-BC23-7BFF-E982-836AFE3209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4804" y="640264"/>
            <a:ext cx="6619811" cy="841420"/>
          </a:xfrm>
        </p:spPr>
        <p:txBody>
          <a:bodyPr vert="horz">
            <a:normAutofit/>
          </a:bodyPr>
          <a:lstStyle/>
          <a:p>
            <a:r>
              <a:rPr lang="en-IN" sz="4000" b="1"/>
              <a:t>Product</a:t>
            </a:r>
            <a:endParaRPr lang="en-US" sz="4000" b="1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4463B20-8E23-9122-F115-36828B22950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5517" y="1800772"/>
            <a:ext cx="6620505" cy="3773010"/>
          </a:xfrm>
        </p:spPr>
        <p:txBody>
          <a:bodyPr vert="horz" lIns="91440" tIns="45720" rIns="91440" bIns="45720" rtlCol="0">
            <a:normAutofit lnSpcReduction="10000"/>
          </a:bodyPr>
          <a:lstStyle/>
          <a:p>
            <a:r>
              <a:rPr lang="en-US" sz="200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t </a:t>
            </a:r>
            <a:r>
              <a:rPr lang="en-US" sz="200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“Dust-Away Rentals” students </a:t>
            </a:r>
            <a:r>
              <a:rPr lang="en-US" sz="200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have an opportunity to rent a diverse range of equipment </a:t>
            </a:r>
          </a:p>
          <a:p>
            <a:pPr lvl="1"/>
            <a:r>
              <a:rPr lang="en-US" sz="200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room And Dustpan, </a:t>
            </a:r>
          </a:p>
          <a:p>
            <a:pPr lvl="1"/>
            <a:r>
              <a:rPr lang="en-US" sz="200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uster</a:t>
            </a:r>
          </a:p>
          <a:p>
            <a:pPr lvl="1"/>
            <a:r>
              <a:rPr lang="en-US" sz="200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icrofiber Spin Mop And Buck</a:t>
            </a:r>
          </a:p>
          <a:p>
            <a:pPr lvl="1"/>
            <a:r>
              <a:rPr lang="en-US" sz="200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arpet Cleaner</a:t>
            </a:r>
          </a:p>
          <a:p>
            <a:pPr lvl="1"/>
            <a:r>
              <a:rPr lang="en-US" sz="200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Vacuum Cleaner</a:t>
            </a:r>
          </a:p>
          <a:p>
            <a:pPr lvl="1"/>
            <a:r>
              <a:rPr lang="en-US" sz="200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Heavy-</a:t>
            </a:r>
            <a:r>
              <a:rPr lang="en-US" sz="200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uty Cleaning Solutions</a:t>
            </a:r>
          </a:p>
          <a:p>
            <a:r>
              <a:rPr lang="en-US" sz="20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mpetitive Pricing</a:t>
            </a:r>
          </a:p>
          <a:p>
            <a:r>
              <a:rPr lang="en-US" sz="20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eliable Equipment</a:t>
            </a:r>
          </a:p>
          <a:p>
            <a:r>
              <a:rPr lang="en-US" sz="20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lean home is the need of the hour</a:t>
            </a:r>
          </a:p>
          <a:p>
            <a:pPr lvl="1"/>
            <a:endParaRPr lang="en-IN" sz="2000"/>
          </a:p>
        </p:txBody>
      </p:sp>
    </p:spTree>
    <p:extLst>
      <p:ext uri="{BB962C8B-B14F-4D97-AF65-F5344CB8AC3E}">
        <p14:creationId xmlns:p14="http://schemas.microsoft.com/office/powerpoint/2010/main" val="108806784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61895A1-3E23-565B-7FD1-6FF683CFF1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11786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61895A1-3E23-565B-7FD1-6FF683CFF1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A picture containing wall, indoor, floor, room&#10;&#10;Description automatically generated">
            <a:extLst>
              <a:ext uri="{FF2B5EF4-FFF2-40B4-BE49-F238E27FC236}">
                <a16:creationId xmlns:a16="http://schemas.microsoft.com/office/drawing/2014/main" id="{FB31C480-A6BC-3311-7F01-E4C7859FFE4D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151571BB-56C5-7711-4B06-FB473D171FF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1" y="0"/>
            <a:ext cx="12192000" cy="6857999"/>
          </a:xfrm>
          <a:prstGeom prst="rect">
            <a:avLst/>
          </a:prstGeom>
        </p:spPr>
      </p:pic>
      <p:pic>
        <p:nvPicPr>
          <p:cNvPr id="5" name="Picture 4" descr="A picture containing table, indoor, decorated&#10;&#10;Description automatically generated">
            <a:extLst>
              <a:ext uri="{FF2B5EF4-FFF2-40B4-BE49-F238E27FC236}">
                <a16:creationId xmlns:a16="http://schemas.microsoft.com/office/drawing/2014/main" id="{DE7B0849-26CC-7457-1F92-2C13793AFE6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86C7B4A1-154A-4DF0-AC46-F88D75A2E0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336884" y="321176"/>
            <a:ext cx="7197772" cy="5896743"/>
          </a:xfrm>
          <a:prstGeom prst="rect">
            <a:avLst/>
          </a:prstGeom>
          <a:solidFill>
            <a:schemeClr val="bg1">
              <a:alpha val="90000"/>
            </a:schemeClr>
          </a:solidFill>
          <a:ln w="127000" cap="sq" cmpd="thinThick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D037D28-BC23-7BFF-E982-836AFE3209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4500" y="407916"/>
            <a:ext cx="6619811" cy="774469"/>
          </a:xfrm>
        </p:spPr>
        <p:txBody>
          <a:bodyPr vert="horz">
            <a:normAutofit/>
          </a:bodyPr>
          <a:lstStyle/>
          <a:p>
            <a:r>
              <a:rPr lang="en-IN" sz="4000" b="1"/>
              <a:t>Price</a:t>
            </a:r>
            <a:endParaRPr lang="en-US" sz="4000" b="1"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6E6C65F0-9FA7-CA77-4D25-E0008942066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37134711"/>
              </p:ext>
            </p:extLst>
          </p:nvPr>
        </p:nvGraphicFramePr>
        <p:xfrm>
          <a:off x="846644" y="1182386"/>
          <a:ext cx="5857337" cy="2957316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2371308">
                  <a:extLst>
                    <a:ext uri="{9D8B030D-6E8A-4147-A177-3AD203B41FA5}">
                      <a16:colId xmlns:a16="http://schemas.microsoft.com/office/drawing/2014/main" val="4567883"/>
                    </a:ext>
                  </a:extLst>
                </a:gridCol>
                <a:gridCol w="778275">
                  <a:extLst>
                    <a:ext uri="{9D8B030D-6E8A-4147-A177-3AD203B41FA5}">
                      <a16:colId xmlns:a16="http://schemas.microsoft.com/office/drawing/2014/main" val="725669435"/>
                    </a:ext>
                  </a:extLst>
                </a:gridCol>
                <a:gridCol w="826918">
                  <a:extLst>
                    <a:ext uri="{9D8B030D-6E8A-4147-A177-3AD203B41FA5}">
                      <a16:colId xmlns:a16="http://schemas.microsoft.com/office/drawing/2014/main" val="1342182888"/>
                    </a:ext>
                  </a:extLst>
                </a:gridCol>
                <a:gridCol w="940418">
                  <a:extLst>
                    <a:ext uri="{9D8B030D-6E8A-4147-A177-3AD203B41FA5}">
                      <a16:colId xmlns:a16="http://schemas.microsoft.com/office/drawing/2014/main" val="428939334"/>
                    </a:ext>
                  </a:extLst>
                </a:gridCol>
                <a:gridCol w="940418">
                  <a:extLst>
                    <a:ext uri="{9D8B030D-6E8A-4147-A177-3AD203B41FA5}">
                      <a16:colId xmlns:a16="http://schemas.microsoft.com/office/drawing/2014/main" val="3074761272"/>
                    </a:ext>
                  </a:extLst>
                </a:gridCol>
              </a:tblGrid>
              <a:tr h="360153">
                <a:tc>
                  <a:txBody>
                    <a:bodyPr/>
                    <a:lstStyle/>
                    <a:p>
                      <a:pPr algn="l" fontAlgn="b"/>
                      <a:r>
                        <a:rPr lang="en-IN" sz="1400" b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roduct </a:t>
                      </a:r>
                      <a:endParaRPr lang="en-IN" sz="14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rice </a:t>
                      </a:r>
                      <a:endParaRPr lang="en-IN" sz="14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Total Units</a:t>
                      </a:r>
                      <a:endParaRPr lang="en-IN" sz="14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Total cost</a:t>
                      </a:r>
                      <a:endParaRPr lang="en-IN" sz="14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Weekly Rents</a:t>
                      </a:r>
                      <a:endParaRPr lang="en-IN" sz="14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39410252"/>
                  </a:ext>
                </a:extLst>
              </a:tr>
              <a:tr h="360153">
                <a:tc>
                  <a:txBody>
                    <a:bodyPr/>
                    <a:lstStyle/>
                    <a:p>
                      <a:pPr algn="l" fontAlgn="b"/>
                      <a:r>
                        <a:rPr lang="en-IN" sz="14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room and dustpan</a:t>
                      </a:r>
                      <a:endParaRPr lang="en-IN" sz="14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$19</a:t>
                      </a:r>
                      <a:endParaRPr lang="en-IN" sz="14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5</a:t>
                      </a:r>
                      <a:endParaRPr lang="en-IN" sz="14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$665</a:t>
                      </a:r>
                      <a:endParaRPr lang="en-IN" sz="14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$10.08</a:t>
                      </a:r>
                      <a:endParaRPr lang="en-IN" sz="14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84985180"/>
                  </a:ext>
                </a:extLst>
              </a:tr>
              <a:tr h="360153">
                <a:tc>
                  <a:txBody>
                    <a:bodyPr/>
                    <a:lstStyle/>
                    <a:p>
                      <a:pPr algn="l" fontAlgn="b"/>
                      <a:r>
                        <a:rPr lang="en-IN" sz="14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Duster</a:t>
                      </a:r>
                      <a:endParaRPr lang="en-IN" sz="14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$8</a:t>
                      </a:r>
                      <a:endParaRPr lang="en-IN" sz="14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5</a:t>
                      </a:r>
                      <a:endParaRPr lang="en-IN" sz="14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$280</a:t>
                      </a:r>
                      <a:endParaRPr lang="en-IN" sz="14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$6.72</a:t>
                      </a:r>
                      <a:endParaRPr lang="en-IN" sz="14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33205184"/>
                  </a:ext>
                </a:extLst>
              </a:tr>
              <a:tr h="360153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Microfiber Spin Mop and Bucket</a:t>
                      </a:r>
                      <a:endParaRPr lang="en-US" sz="14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$20</a:t>
                      </a:r>
                      <a:endParaRPr lang="en-IN" sz="14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5</a:t>
                      </a:r>
                      <a:endParaRPr lang="en-IN" sz="14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$700</a:t>
                      </a:r>
                      <a:endParaRPr lang="en-IN" sz="14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$20.16</a:t>
                      </a:r>
                      <a:endParaRPr lang="en-IN" sz="14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92142892"/>
                  </a:ext>
                </a:extLst>
              </a:tr>
              <a:tr h="360153">
                <a:tc>
                  <a:txBody>
                    <a:bodyPr/>
                    <a:lstStyle/>
                    <a:p>
                      <a:pPr algn="l" fontAlgn="b"/>
                      <a:r>
                        <a:rPr lang="en-IN" sz="14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arpet Cleaner </a:t>
                      </a:r>
                      <a:endParaRPr lang="en-IN" sz="14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$85</a:t>
                      </a:r>
                      <a:endParaRPr lang="en-IN" sz="14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</a:t>
                      </a:r>
                      <a:endParaRPr lang="en-IN" sz="14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$595</a:t>
                      </a:r>
                      <a:endParaRPr lang="en-IN" sz="14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$39.2</a:t>
                      </a:r>
                      <a:endParaRPr lang="en-IN" sz="14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567711"/>
                  </a:ext>
                </a:extLst>
              </a:tr>
              <a:tr h="360153">
                <a:tc>
                  <a:txBody>
                    <a:bodyPr/>
                    <a:lstStyle/>
                    <a:p>
                      <a:pPr algn="l" fontAlgn="b"/>
                      <a:r>
                        <a:rPr lang="en-IN" sz="14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acuum Cleaner </a:t>
                      </a:r>
                      <a:endParaRPr lang="en-IN" sz="14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$50</a:t>
                      </a:r>
                      <a:endParaRPr lang="en-IN" sz="14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8</a:t>
                      </a:r>
                      <a:endParaRPr lang="en-IN" sz="14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$1400</a:t>
                      </a:r>
                      <a:endParaRPr lang="en-IN" sz="14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$28</a:t>
                      </a:r>
                      <a:endParaRPr lang="en-IN" sz="14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7025622"/>
                  </a:ext>
                </a:extLst>
              </a:tr>
              <a:tr h="360153">
                <a:tc>
                  <a:txBody>
                    <a:bodyPr/>
                    <a:lstStyle/>
                    <a:p>
                      <a:pPr algn="l" fontAlgn="b"/>
                      <a:r>
                        <a:rPr lang="en-IN" sz="14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Heavy Duty cleaning solution </a:t>
                      </a:r>
                      <a:endParaRPr lang="en-IN" sz="14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$30</a:t>
                      </a:r>
                      <a:endParaRPr lang="en-IN" sz="14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4</a:t>
                      </a:r>
                      <a:endParaRPr lang="en-IN" sz="14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$420</a:t>
                      </a:r>
                      <a:endParaRPr lang="en-IN" sz="14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$7</a:t>
                      </a:r>
                      <a:endParaRPr lang="en-IN" sz="14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38203085"/>
                  </a:ext>
                </a:extLst>
              </a:tr>
              <a:tr h="360153">
                <a:tc>
                  <a:txBody>
                    <a:bodyPr/>
                    <a:lstStyle/>
                    <a:p>
                      <a:pPr algn="l" fontAlgn="b"/>
                      <a:r>
                        <a:rPr lang="en-IN" sz="1400" b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Total</a:t>
                      </a:r>
                      <a:endParaRPr lang="en-IN" sz="14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$212</a:t>
                      </a:r>
                      <a:endParaRPr lang="en-IN" sz="14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54</a:t>
                      </a:r>
                      <a:endParaRPr lang="en-IN" sz="14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$4,060 </a:t>
                      </a:r>
                      <a:endParaRPr lang="en-IN" sz="14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$111.16</a:t>
                      </a:r>
                      <a:endParaRPr lang="en-IN" sz="14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55850633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CC9EFBAE-6C51-8717-5F5C-A06732125C0C}"/>
              </a:ext>
            </a:extLst>
          </p:cNvPr>
          <p:cNvSpPr txBox="1"/>
          <p:nvPr/>
        </p:nvSpPr>
        <p:spPr>
          <a:xfrm>
            <a:off x="846643" y="4393980"/>
            <a:ext cx="5857337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/>
              <a:t>Decided to pay for a minimum viable inventory, during the initial days of busines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/>
              <a:t>Intend to purchase more equipment that is high in demand and profitab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/>
              <a:t>It is both cost-effective and convenient to buy more equipment later than to get rid of excess unwanted equipment</a:t>
            </a:r>
            <a:endParaRPr lang="en-IN" sz="1600"/>
          </a:p>
        </p:txBody>
      </p:sp>
    </p:spTree>
    <p:extLst>
      <p:ext uri="{BB962C8B-B14F-4D97-AF65-F5344CB8AC3E}">
        <p14:creationId xmlns:p14="http://schemas.microsoft.com/office/powerpoint/2010/main" val="98104394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61895A1-3E23-565B-7FD1-6FF683CFF1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288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61895A1-3E23-565B-7FD1-6FF683CFF1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A picture containing wall, indoor, floor, room&#10;&#10;Description automatically generated">
            <a:extLst>
              <a:ext uri="{FF2B5EF4-FFF2-40B4-BE49-F238E27FC236}">
                <a16:creationId xmlns:a16="http://schemas.microsoft.com/office/drawing/2014/main" id="{FB31C480-A6BC-3311-7F01-E4C7859FFE4D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pic>
        <p:nvPicPr>
          <p:cNvPr id="12" name="Picture 11" descr="A living room with a couch and coffee table&#10;&#10;Description automatically generated with medium confidence">
            <a:extLst>
              <a:ext uri="{FF2B5EF4-FFF2-40B4-BE49-F238E27FC236}">
                <a16:creationId xmlns:a16="http://schemas.microsoft.com/office/drawing/2014/main" id="{956BCB3B-1F1B-2C2B-E4E0-D2C449E56D8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91998" cy="6858000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86C7B4A1-154A-4DF0-AC46-F88D75A2E0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336884" y="321176"/>
            <a:ext cx="7197772" cy="5896743"/>
          </a:xfrm>
          <a:prstGeom prst="rect">
            <a:avLst/>
          </a:prstGeom>
          <a:solidFill>
            <a:schemeClr val="bg1">
              <a:alpha val="90000"/>
            </a:schemeClr>
          </a:solidFill>
          <a:ln w="127000" cap="sq" cmpd="thinThick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2F37AF47-F87F-0068-C2CE-9B7AD5F6D62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934" y="340427"/>
            <a:ext cx="6313098" cy="5577838"/>
          </a:xfrm>
        </p:spPr>
        <p:txBody>
          <a:bodyPr>
            <a:noAutofit/>
          </a:bodyPr>
          <a:lstStyle/>
          <a:p>
            <a:pPr marL="0" indent="0" algn="just">
              <a:buNone/>
            </a:pPr>
            <a:r>
              <a:rPr lang="en-IN" sz="4000" b="1"/>
              <a:t>Promotion</a:t>
            </a:r>
            <a:endParaRPr lang="en-US" sz="2000" b="1"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algn="just"/>
            <a:r>
              <a:rPr lang="en-US" sz="1600">
                <a:latin typeface="Calibri" panose="020F0502020204030204" pitchFamily="34" charset="0"/>
                <a:ea typeface="Times New Roman" panose="02020603050405020304" pitchFamily="18" charset="0"/>
              </a:rPr>
              <a:t>Push Marketing</a:t>
            </a:r>
            <a:endParaRPr lang="en-US" sz="1600">
              <a:effectLst/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lvl="1" algn="just"/>
            <a:r>
              <a:rPr lang="en-US" sz="1600">
                <a:latin typeface="Calibri" panose="020F0502020204030204" pitchFamily="34" charset="0"/>
                <a:ea typeface="Times New Roman" panose="02020603050405020304" pitchFamily="18" charset="0"/>
              </a:rPr>
              <a:t>E</a:t>
            </a:r>
            <a:r>
              <a:rPr lang="en-US" sz="160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mail marketing</a:t>
            </a:r>
          </a:p>
          <a:p>
            <a:pPr lvl="2" algn="just"/>
            <a:r>
              <a:rPr lang="en-US" sz="160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newsletters and promotional emails </a:t>
            </a:r>
            <a:endParaRPr lang="en-US" sz="160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lvl="2" algn="just"/>
            <a:r>
              <a:rPr lang="en-US" sz="160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attractive offers</a:t>
            </a:r>
          </a:p>
          <a:p>
            <a:pPr lvl="1" algn="just"/>
            <a:r>
              <a:rPr lang="en-US" sz="160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Flyers on the bulletin boards</a:t>
            </a:r>
            <a:endParaRPr lang="en-IN" sz="160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lvl="2" algn="just"/>
            <a:r>
              <a:rPr lang="en-US" sz="1600">
                <a:latin typeface="Calibri" panose="020F0502020204030204" pitchFamily="34" charset="0"/>
                <a:ea typeface="Calibri" panose="020F0502020204030204" pitchFamily="34" charset="0"/>
              </a:rPr>
              <a:t>P</a:t>
            </a:r>
            <a:r>
              <a:rPr lang="en-US" sz="16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rinting</a:t>
            </a:r>
            <a:r>
              <a:rPr lang="en-US" sz="160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 does not need a huge budget </a:t>
            </a:r>
            <a:endParaRPr lang="en-IN" sz="1600">
              <a:solidFill>
                <a:srgbClr val="000000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lvl="2" algn="just"/>
            <a:r>
              <a:rPr lang="en-US" sz="16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E</a:t>
            </a:r>
            <a:r>
              <a:rPr lang="en-US" sz="160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xcellent quality flyers can be produced instantly</a:t>
            </a:r>
            <a:endParaRPr lang="en-IN" sz="160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lvl="2" algn="just"/>
            <a:r>
              <a:rPr lang="en-US" sz="16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V</a:t>
            </a:r>
            <a:r>
              <a:rPr lang="en-US" sz="160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isibility of flyers can make our customers feel more associated with the business </a:t>
            </a:r>
          </a:p>
          <a:p>
            <a:pPr lvl="1" algn="just"/>
            <a:r>
              <a:rPr lang="en-US" sz="16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Future Strategy</a:t>
            </a:r>
          </a:p>
          <a:p>
            <a:pPr lvl="2" algn="just"/>
            <a:r>
              <a:rPr lang="en-US" sz="160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Plan to open brick-and-mortar stores across four strategic locations in the Richardson area</a:t>
            </a:r>
          </a:p>
          <a:p>
            <a:pPr lvl="2" algn="just"/>
            <a:r>
              <a:rPr lang="en-US" sz="16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Enable Direct Sales to customers</a:t>
            </a:r>
            <a:endParaRPr lang="en-US" sz="1600">
              <a:solidFill>
                <a:srgbClr val="000000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algn="just"/>
            <a:r>
              <a:rPr lang="en-US" sz="16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Benefits of Push Marketing</a:t>
            </a:r>
          </a:p>
          <a:p>
            <a:pPr lvl="1" algn="just"/>
            <a:r>
              <a:rPr lang="en-US" sz="16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M</a:t>
            </a:r>
            <a:r>
              <a:rPr lang="en-US" sz="160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aintain customer brand loyalty</a:t>
            </a:r>
          </a:p>
          <a:p>
            <a:pPr lvl="1" algn="just"/>
            <a:r>
              <a:rPr lang="en-US" sz="16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A</a:t>
            </a:r>
            <a:r>
              <a:rPr lang="en-US" sz="160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wareness of our new services</a:t>
            </a:r>
            <a:endParaRPr lang="en-US" sz="160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lvl="1" algn="just"/>
            <a:r>
              <a:rPr lang="en-US" sz="16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Edify</a:t>
            </a:r>
            <a:r>
              <a:rPr lang="en-US" sz="160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the value of our brand </a:t>
            </a:r>
          </a:p>
          <a:p>
            <a:pPr lvl="1" algn="just"/>
            <a:r>
              <a:rPr lang="en-US" sz="16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K</a:t>
            </a:r>
            <a:r>
              <a:rPr lang="en-US" sz="160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eep the audience engaged</a:t>
            </a:r>
            <a:endParaRPr lang="en-IN" sz="1600">
              <a:solidFill>
                <a:srgbClr val="000000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lvl="2" algn="just"/>
            <a:endParaRPr lang="en-US" sz="1600">
              <a:effectLst/>
              <a:latin typeface="Calibri" panose="020F0502020204030204" pitchFamily="34" charset="0"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427436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61895A1-3E23-565B-7FD1-6FF683CFF1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21240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61895A1-3E23-565B-7FD1-6FF683CFF1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A picture containing wall, indoor, floor, room&#10;&#10;Description automatically generated">
            <a:extLst>
              <a:ext uri="{FF2B5EF4-FFF2-40B4-BE49-F238E27FC236}">
                <a16:creationId xmlns:a16="http://schemas.microsoft.com/office/drawing/2014/main" id="{FB31C480-A6BC-3311-7F01-E4C7859FFE4D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pic>
        <p:nvPicPr>
          <p:cNvPr id="3" name="Picture 2" descr="A picture containing floor, indoor, wall, living&#10;&#10;Description automatically generated">
            <a:extLst>
              <a:ext uri="{FF2B5EF4-FFF2-40B4-BE49-F238E27FC236}">
                <a16:creationId xmlns:a16="http://schemas.microsoft.com/office/drawing/2014/main" id="{FA2F80CB-751E-3A42-1D89-754BA483AE0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86C7B4A1-154A-4DF0-AC46-F88D75A2E0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336884" y="321176"/>
            <a:ext cx="7197772" cy="5896743"/>
          </a:xfrm>
          <a:prstGeom prst="rect">
            <a:avLst/>
          </a:prstGeom>
          <a:solidFill>
            <a:schemeClr val="bg1">
              <a:alpha val="90000"/>
            </a:schemeClr>
          </a:solidFill>
          <a:ln w="127000" cap="sq" cmpd="thinThick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2F37AF47-F87F-0068-C2CE-9B7AD5F6D62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934" y="340427"/>
            <a:ext cx="6313098" cy="5577838"/>
          </a:xfrm>
        </p:spPr>
        <p:txBody>
          <a:bodyPr>
            <a:noAutofit/>
          </a:bodyPr>
          <a:lstStyle/>
          <a:p>
            <a:pPr marL="0" indent="0" algn="just">
              <a:buNone/>
            </a:pPr>
            <a:r>
              <a:rPr lang="en-IN" sz="4000" b="1"/>
              <a:t>Promotion</a:t>
            </a:r>
            <a:endParaRPr lang="en-US" sz="2000" b="1"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r>
              <a:rPr lang="en-IN" sz="2000"/>
              <a:t>Pull Marketing</a:t>
            </a:r>
          </a:p>
          <a:p>
            <a:pPr lvl="1"/>
            <a:r>
              <a:rPr lang="en-US" sz="2000"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O</a:t>
            </a:r>
            <a:r>
              <a:rPr lang="en-US" sz="200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wn website</a:t>
            </a:r>
          </a:p>
          <a:p>
            <a:pPr lvl="2"/>
            <a:r>
              <a:rPr lang="en-US"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H</a:t>
            </a:r>
            <a:r>
              <a:rPr lang="en-US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uge repository of information</a:t>
            </a:r>
            <a:endParaRPr lang="en-US">
              <a:latin typeface="Calibri" panose="020F050202020403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lvl="2"/>
            <a:r>
              <a:rPr lang="en-US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SEO Tools will facilitate our website to rank higher</a:t>
            </a:r>
          </a:p>
          <a:p>
            <a:pPr lvl="2"/>
            <a:r>
              <a:rPr lang="en-US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Boosts the brand image in the eye of the customers </a:t>
            </a:r>
            <a:endParaRPr lang="en-US">
              <a:effectLst/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lvl="1"/>
            <a:r>
              <a:rPr lang="en-US" sz="2000">
                <a:latin typeface="Calibri" panose="020F0502020204030204" pitchFamily="34" charset="0"/>
                <a:ea typeface="Times New Roman" panose="02020603050405020304" pitchFamily="18" charset="0"/>
              </a:rPr>
              <a:t>S</a:t>
            </a:r>
            <a:r>
              <a:rPr lang="en-US" sz="200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ocial media marketing </a:t>
            </a:r>
            <a:endParaRPr lang="en-IN" sz="2000">
              <a:effectLst/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lvl="2"/>
            <a:r>
              <a:rPr lang="en-US">
                <a:latin typeface="Calibri" panose="020F0502020204030204" pitchFamily="34" charset="0"/>
                <a:ea typeface="Times New Roman" panose="02020603050405020304" pitchFamily="18" charset="0"/>
              </a:rPr>
              <a:t>D</a:t>
            </a:r>
            <a:r>
              <a:rPr lang="en-US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ifferent social media platforms such as Facebook, Instagram and TikTok</a:t>
            </a:r>
            <a:endParaRPr lang="en-IN"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lvl="2"/>
            <a:r>
              <a:rPr lang="en-US">
                <a:latin typeface="Calibri" panose="020F0502020204030204" pitchFamily="34" charset="0"/>
                <a:ea typeface="Times New Roman" panose="02020603050405020304" pitchFamily="18" charset="0"/>
              </a:rPr>
              <a:t>R</a:t>
            </a:r>
            <a:r>
              <a:rPr lang="en-US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elevant hashtags for consumers to find our content</a:t>
            </a:r>
            <a:endParaRPr lang="en-IN">
              <a:effectLst/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lvl="2"/>
            <a:r>
              <a:rPr lang="en-US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More visibility and boosts traffic</a:t>
            </a:r>
            <a:endParaRPr lang="en-IN"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lvl="2"/>
            <a:r>
              <a:rPr lang="en-US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Measure the success rate of online campaigns</a:t>
            </a:r>
            <a:endParaRPr lang="en-IN">
              <a:effectLst/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lvl="2"/>
            <a:r>
              <a:rPr lang="en-US">
                <a:latin typeface="Calibri" panose="020F0502020204030204" pitchFamily="34" charset="0"/>
                <a:ea typeface="Times New Roman" panose="02020603050405020304" pitchFamily="18" charset="0"/>
              </a:rPr>
              <a:t>U</a:t>
            </a:r>
            <a:r>
              <a:rPr lang="en-US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limited marketing potential</a:t>
            </a:r>
            <a:endParaRPr lang="en-IN"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lvl="2"/>
            <a:endParaRPr lang="en-IN"/>
          </a:p>
          <a:p>
            <a:pPr lvl="2" algn="just"/>
            <a:endParaRPr lang="en-US" sz="1600">
              <a:effectLst/>
              <a:latin typeface="Calibri" panose="020F0502020204030204" pitchFamily="34" charset="0"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812821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61895A1-3E23-565B-7FD1-6FF683CFF1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38056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61895A1-3E23-565B-7FD1-6FF683CFF1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A picture containing wall, indoor, floor, room&#10;&#10;Description automatically generated">
            <a:extLst>
              <a:ext uri="{FF2B5EF4-FFF2-40B4-BE49-F238E27FC236}">
                <a16:creationId xmlns:a16="http://schemas.microsoft.com/office/drawing/2014/main" id="{FB31C480-A6BC-3311-7F01-E4C7859FFE4D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pic>
        <p:nvPicPr>
          <p:cNvPr id="4" name="Picture 3" descr="A picture containing text, building, area, furniture&#10;&#10;Description automatically generated">
            <a:extLst>
              <a:ext uri="{FF2B5EF4-FFF2-40B4-BE49-F238E27FC236}">
                <a16:creationId xmlns:a16="http://schemas.microsoft.com/office/drawing/2014/main" id="{829E79F3-177E-3C61-EB0A-8347839D898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8" cy="6858000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86C7B4A1-154A-4DF0-AC46-F88D75A2E0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336884" y="321176"/>
            <a:ext cx="7197772" cy="5896743"/>
          </a:xfrm>
          <a:prstGeom prst="rect">
            <a:avLst/>
          </a:prstGeom>
          <a:solidFill>
            <a:schemeClr val="bg1">
              <a:alpha val="90000"/>
            </a:schemeClr>
          </a:solidFill>
          <a:ln w="127000" cap="sq" cmpd="thinThick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D037D28-BC23-7BFF-E982-836AFE3209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9913" y="321176"/>
            <a:ext cx="6619811" cy="981413"/>
          </a:xfrm>
        </p:spPr>
        <p:txBody>
          <a:bodyPr vert="horz">
            <a:normAutofit/>
          </a:bodyPr>
          <a:lstStyle/>
          <a:p>
            <a:r>
              <a:rPr lang="en-IN" sz="4000" b="1"/>
              <a:t>Place/ Distribution</a:t>
            </a:r>
            <a:endParaRPr lang="en-US" sz="4000" b="1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9FF04B1-4BCF-D208-9FDD-EE08DDF3C046}"/>
              </a:ext>
            </a:extLst>
          </p:cNvPr>
          <p:cNvSpPr txBox="1"/>
          <p:nvPr/>
        </p:nvSpPr>
        <p:spPr>
          <a:xfrm>
            <a:off x="732345" y="1150447"/>
            <a:ext cx="6154946" cy="50167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>
                <a:effectLst/>
                <a:latin typeface="Calibri" panose="020F0502020204030204" pitchFamily="34" charset="0"/>
                <a:ea typeface="MS Gothic" panose="020B0609070205080204" pitchFamily="49" charset="-128"/>
              </a:rPr>
              <a:t>Direct sales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IN">
                <a:effectLst/>
                <a:latin typeface="Calibri" panose="020F0502020204030204" pitchFamily="34" charset="0"/>
                <a:ea typeface="MS Gothic" panose="020B0609070205080204" pitchFamily="49" charset="-128"/>
              </a:rPr>
              <a:t>Service will be provided through an online booking platform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IN">
                <a:effectLst/>
                <a:latin typeface="Calibri" panose="020F0502020204030204" pitchFamily="34" charset="0"/>
                <a:ea typeface="MS Gothic" panose="020B0609070205080204" pitchFamily="49" charset="-128"/>
              </a:rPr>
              <a:t>Plan to open four stores close to the </a:t>
            </a:r>
            <a:r>
              <a:rPr lang="en-US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four target Universities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IN" sz="1400">
                <a:effectLst/>
                <a:latin typeface="Calibri" panose="020F0502020204030204" pitchFamily="34" charset="0"/>
                <a:ea typeface="MS Gothic" panose="020B0609070205080204" pitchFamily="49" charset="-128"/>
              </a:rPr>
              <a:t>Will make it convenient for customers to have direct access to our services</a:t>
            </a:r>
            <a:endParaRPr lang="en-US" sz="140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IN" sz="1400">
                <a:effectLst/>
                <a:latin typeface="Calibri" panose="020F0502020204030204" pitchFamily="34" charset="0"/>
                <a:ea typeface="MS Gothic" panose="020B0609070205080204" pitchFamily="49" charset="-128"/>
              </a:rPr>
              <a:t>control our expenses</a:t>
            </a:r>
            <a:endParaRPr lang="en-US" sz="14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IN" sz="1400">
                <a:effectLst/>
                <a:latin typeface="Calibri" panose="020F0502020204030204" pitchFamily="34" charset="0"/>
                <a:ea typeface="MS Gothic" panose="020B0609070205080204" pitchFamily="49" charset="-128"/>
              </a:rPr>
              <a:t>stronger customer relationships with our target audience</a:t>
            </a:r>
            <a:endParaRPr lang="en-US" sz="14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latin typeface="Calibri" panose="020F0502020204030204" pitchFamily="34" charset="0"/>
                <a:ea typeface="Calibri" panose="020F0502020204030204" pitchFamily="34" charset="0"/>
              </a:rPr>
              <a:t>In</a:t>
            </a:r>
            <a:r>
              <a:rPr lang="en-US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irect sales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>
                <a:latin typeface="Calibri" panose="020F0502020204030204" pitchFamily="34" charset="0"/>
                <a:ea typeface="Calibri" panose="020F0502020204030204" pitchFamily="34" charset="0"/>
              </a:rPr>
              <a:t>P</a:t>
            </a:r>
            <a:r>
              <a:rPr lang="en-US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artnerships with the leasing office of popular student accommodations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 panose="020F0502020204030204" pitchFamily="34" charset="0"/>
                <a:ea typeface="Calibri" panose="020F0502020204030204" pitchFamily="34" charset="0"/>
              </a:rPr>
              <a:t>K</a:t>
            </a:r>
            <a:r>
              <a:rPr lang="en-US" sz="14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eep certain equipment in these offices, consumers can directly walk in and book a servic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Work on the Referral model with these housing apartments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14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Referrals coming from trusted sources will create a positive impact 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Established logistics of channel partners give us time to focus on improving services</a:t>
            </a:r>
            <a:endParaRPr lang="en-IN" sz="1400"/>
          </a:p>
        </p:txBody>
      </p:sp>
    </p:spTree>
    <p:extLst>
      <p:ext uri="{BB962C8B-B14F-4D97-AF65-F5344CB8AC3E}">
        <p14:creationId xmlns:p14="http://schemas.microsoft.com/office/powerpoint/2010/main" val="214000272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F0F1DF6-0F93-9FE1-29AA-98B131BE77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987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F0F1DF6-0F93-9FE1-29AA-98B131BE77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19" descr="A kitchen with white cabinets&#10;&#10;Description automatically generated">
            <a:extLst>
              <a:ext uri="{FF2B5EF4-FFF2-40B4-BE49-F238E27FC236}">
                <a16:creationId xmlns:a16="http://schemas.microsoft.com/office/drawing/2014/main" id="{178EE7C9-650D-59C9-794A-2413227FEBB5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AAD4596-CCBC-D941-B5B1-73943780BE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96528" y="314623"/>
            <a:ext cx="10397706" cy="1031008"/>
          </a:xfrm>
        </p:spPr>
        <p:txBody>
          <a:bodyPr vert="horz">
            <a:normAutofit/>
          </a:bodyPr>
          <a:lstStyle/>
          <a:p>
            <a:r>
              <a:rPr lang="en-IN" sz="4800" b="1"/>
              <a:t>SWOT Analysis</a:t>
            </a:r>
          </a:p>
        </p:txBody>
      </p:sp>
      <p:graphicFrame>
        <p:nvGraphicFramePr>
          <p:cNvPr id="9" name="Google Shape;117;p19">
            <a:extLst>
              <a:ext uri="{FF2B5EF4-FFF2-40B4-BE49-F238E27FC236}">
                <a16:creationId xmlns:a16="http://schemas.microsoft.com/office/drawing/2014/main" id="{93B6F861-7EAE-5338-41FB-C1FB1EFD4D8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23056670"/>
              </p:ext>
            </p:extLst>
          </p:nvPr>
        </p:nvGraphicFramePr>
        <p:xfrm>
          <a:off x="1618890" y="1466490"/>
          <a:ext cx="9333782" cy="5130462"/>
        </p:xfrm>
        <a:graphic>
          <a:graphicData uri="http://schemas.openxmlformats.org/drawingml/2006/table">
            <a:tbl>
              <a:tblPr>
                <a:tableStyleId>{3C2FFA5D-87B4-456A-9821-1D502468CF0F}</a:tableStyleId>
              </a:tblPr>
              <a:tblGrid>
                <a:gridCol w="466689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66689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470016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800" b="1">
                          <a:solidFill>
                            <a:schemeClr val="tx1"/>
                          </a:solidFill>
                          <a:latin typeface="+mn-lt"/>
                        </a:rPr>
                        <a:t>STRENGTHS</a:t>
                      </a:r>
                      <a:endParaRPr sz="1800" b="1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800" b="1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457200" lvl="0" indent="-31750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400"/>
                        <a:buChar char="●"/>
                      </a:pPr>
                      <a:r>
                        <a:rPr lang="en-US" sz="1800" kern="12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Easier and more cost-effective</a:t>
                      </a:r>
                    </a:p>
                    <a:p>
                      <a:pPr marL="457200" lvl="0" indent="-317500" algn="l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400"/>
                        <a:buChar char="●"/>
                      </a:pPr>
                      <a:r>
                        <a:rPr lang="en-US" sz="1800" kern="12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No issues with storing or maintaining tools</a:t>
                      </a:r>
                      <a:endParaRPr lang="en-US"/>
                    </a:p>
                    <a:p>
                      <a:pPr marL="457200" lvl="0" indent="-31750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400"/>
                        <a:buChar char="●"/>
                      </a:pPr>
                      <a:r>
                        <a:rPr lang="en-US" sz="1800" kern="12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ocated in Texas, one of the fast-growing state</a:t>
                      </a:r>
                    </a:p>
                    <a:p>
                      <a:pPr marL="457200" lvl="0" indent="-31750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400"/>
                        <a:buChar char="●"/>
                      </a:pPr>
                      <a:r>
                        <a:rPr lang="en-US" sz="1800" kern="12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Diverse range of products</a:t>
                      </a:r>
                    </a:p>
                    <a:p>
                      <a:pPr marL="457200" lvl="0" indent="-317500" algn="l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400"/>
                        <a:buChar char="●"/>
                      </a:pPr>
                      <a:r>
                        <a:rPr lang="en-US" sz="1800" kern="12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ess preliminary fees</a:t>
                      </a:r>
                    </a:p>
                    <a:p>
                      <a:pPr marL="457200" lvl="0" indent="-317500" algn="l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400"/>
                        <a:buChar char="●"/>
                      </a:pPr>
                      <a:r>
                        <a:rPr lang="en-US" sz="1800" kern="12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ess personnel and management cost</a:t>
                      </a:r>
                    </a:p>
                  </a:txBody>
                  <a:tcPr marL="91425" marR="91425" marT="91425" marB="914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800" b="1">
                          <a:solidFill>
                            <a:schemeClr val="tx1"/>
                          </a:solidFill>
                          <a:latin typeface="+mn-lt"/>
                        </a:rPr>
                        <a:t>WEAKNESSES</a:t>
                      </a:r>
                      <a:endParaRPr sz="1800" b="1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800" b="1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457200" lvl="0" indent="-31750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400"/>
                        <a:buChar char="●"/>
                      </a:pPr>
                      <a:r>
                        <a:rPr lang="en-US" sz="1800" kern="12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Difficult to increase brand awareness</a:t>
                      </a:r>
                    </a:p>
                    <a:p>
                      <a:pPr marL="457200" lvl="0" indent="-317500" algn="l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400"/>
                        <a:buChar char="●"/>
                      </a:pPr>
                      <a:r>
                        <a:rPr lang="en-US" sz="1800" kern="12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High cost to educate customers</a:t>
                      </a:r>
                    </a:p>
                    <a:p>
                      <a:pPr marL="457200" lvl="0" indent="-31750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400"/>
                        <a:buChar char="●"/>
                      </a:pPr>
                      <a:r>
                        <a:rPr lang="en-US" sz="1800" kern="12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roduct lines may be limited </a:t>
                      </a:r>
                      <a:endParaRPr lang="en-US" sz="1800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25" marR="91425" marT="91425" marB="914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C6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78732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800" b="1">
                          <a:solidFill>
                            <a:schemeClr val="tx1"/>
                          </a:solidFill>
                          <a:latin typeface="+mn-lt"/>
                        </a:rPr>
                        <a:t>OPPORTUNITIES</a:t>
                      </a:r>
                      <a:endParaRPr sz="1800" b="1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800" b="1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457200" lvl="0" indent="-31750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1400"/>
                        <a:buChar char="●"/>
                      </a:pPr>
                      <a:r>
                        <a:rPr lang="en-US" sz="1800" kern="12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Trend for Renting on a rise</a:t>
                      </a:r>
                    </a:p>
                    <a:p>
                      <a:pPr marL="457200" lvl="0" indent="-31750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1400"/>
                        <a:buChar char="●"/>
                      </a:pPr>
                      <a:r>
                        <a:rPr lang="en-US" sz="1800" kern="12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ental service market has been developing rapidly</a:t>
                      </a:r>
                    </a:p>
                    <a:p>
                      <a:pPr marL="457200" lvl="0" indent="-31750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1400"/>
                        <a:buChar char="●"/>
                      </a:pPr>
                      <a:r>
                        <a:rPr lang="en-US" sz="1800" kern="12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ocial Media Oriented Business Model</a:t>
                      </a:r>
                    </a:p>
                    <a:p>
                      <a:pPr marL="457200" lvl="0" indent="-31750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1400"/>
                        <a:buChar char="●"/>
                      </a:pPr>
                      <a:r>
                        <a:rPr lang="en-US" sz="1800" kern="12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udience advantage- influx of new I</a:t>
                      </a:r>
                      <a:r>
                        <a:rPr lang="en-US" sz="180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ternational students every semester</a:t>
                      </a:r>
                      <a:endParaRPr sz="18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1425" marR="91425" marT="91425" marB="914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800" b="1">
                          <a:solidFill>
                            <a:schemeClr val="tx1"/>
                          </a:solidFill>
                          <a:latin typeface="+mn-lt"/>
                        </a:rPr>
                        <a:t>THREATS</a:t>
                      </a:r>
                      <a:endParaRPr sz="1800" b="1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IN" sz="1800" b="1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285750" lvl="0" indent="-2857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800" kern="12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Economic crisis</a:t>
                      </a:r>
                    </a:p>
                    <a:p>
                      <a:pPr marL="285750" lvl="0" indent="-2857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800" kern="12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ontroversies with Safety Measures</a:t>
                      </a:r>
                    </a:p>
                    <a:p>
                      <a:pPr marL="285750" lvl="0" indent="-2857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800" kern="12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Government laws</a:t>
                      </a:r>
                      <a:endParaRPr sz="1800" b="1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1425" marR="91425" marT="91425" marB="914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97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942097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Application>Microsoft Office PowerPoint</Application>
  <PresentationFormat>Widescreen</PresentationFormat>
  <Slides>11</Slides>
  <Notes>0</Notes>
  <HiddenSlides>0</HiddenSlide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11</vt:i4>
      </vt:variant>
    </vt:vector>
  </HeadingPairs>
  <TitlesOfParts>
    <vt:vector size="13" baseType="lpstr">
      <vt:lpstr>Office Theme</vt:lpstr>
      <vt:lpstr>1_office theme</vt:lpstr>
      <vt:lpstr>Dust-Away Rentals</vt:lpstr>
      <vt:lpstr>PowerPoint Presentation</vt:lpstr>
      <vt:lpstr>Target Market</vt:lpstr>
      <vt:lpstr>Product</vt:lpstr>
      <vt:lpstr>Price</vt:lpstr>
      <vt:lpstr>PowerPoint Presentation</vt:lpstr>
      <vt:lpstr>PowerPoint Presentation</vt:lpstr>
      <vt:lpstr>Place/ Distribution</vt:lpstr>
      <vt:lpstr>SWOT Analysis</vt:lpstr>
      <vt:lpstr>Sample Ads and Flyers</vt:lpstr>
      <vt:lpstr>Thankyou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ust-Away Rentals</dc:title>
  <dc:creator>nikhitaagarwal18@outlook.com</dc:creator>
  <cp:revision>2</cp:revision>
  <dcterms:created xsi:type="dcterms:W3CDTF">2022-12-01T04:03:25Z</dcterms:created>
  <dcterms:modified xsi:type="dcterms:W3CDTF">2025-05-05T20:25:32Z</dcterms:modified>
</cp:coreProperties>
</file>